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28"/>
  </p:notesMasterIdLst>
  <p:handoutMasterIdLst>
    <p:handoutMasterId r:id="rId29"/>
  </p:handoutMasterIdLst>
  <p:sldIdLst>
    <p:sldId id="265" r:id="rId5"/>
    <p:sldId id="259" r:id="rId6"/>
    <p:sldId id="280" r:id="rId7"/>
    <p:sldId id="281" r:id="rId8"/>
    <p:sldId id="285" r:id="rId9"/>
    <p:sldId id="286" r:id="rId10"/>
    <p:sldId id="287" r:id="rId11"/>
    <p:sldId id="304" r:id="rId12"/>
    <p:sldId id="288" r:id="rId13"/>
    <p:sldId id="289" r:id="rId14"/>
    <p:sldId id="290" r:id="rId15"/>
    <p:sldId id="303" r:id="rId16"/>
    <p:sldId id="291" r:id="rId17"/>
    <p:sldId id="298" r:id="rId18"/>
    <p:sldId id="299" r:id="rId19"/>
    <p:sldId id="300" r:id="rId20"/>
    <p:sldId id="301" r:id="rId21"/>
    <p:sldId id="302" r:id="rId22"/>
    <p:sldId id="305" r:id="rId23"/>
    <p:sldId id="306" r:id="rId24"/>
    <p:sldId id="307" r:id="rId25"/>
    <p:sldId id="309" r:id="rId26"/>
    <p:sldId id="308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86486" autoAdjust="0"/>
  </p:normalViewPr>
  <p:slideViewPr>
    <p:cSldViewPr snapToGrid="0" showGuides="1">
      <p:cViewPr>
        <p:scale>
          <a:sx n="66" d="100"/>
          <a:sy n="66" d="100"/>
        </p:scale>
        <p:origin x="-1392" y="-174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1986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1/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938" y="807993"/>
            <a:ext cx="7151687" cy="1127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Content Placeholder 3"/>
          <p:cNvSpPr txBox="1">
            <a:spLocks/>
          </p:cNvSpPr>
          <p:nvPr/>
        </p:nvSpPr>
        <p:spPr>
          <a:xfrm>
            <a:off x="560231" y="2180823"/>
            <a:ext cx="8229600" cy="2773363"/>
          </a:xfrm>
          <a:prstGeom prst="rect">
            <a:avLst/>
          </a:prstGeom>
        </p:spPr>
        <p:txBody>
          <a:bodyPr vert="horz" lIns="720000" tIns="33059" rIns="33059" bIns="33059" rtlCol="0">
            <a:norm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tabLst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indent="0" algn="ctr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b="1" u="sng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am number:  </a:t>
            </a:r>
            <a:r>
              <a:rPr lang="en-US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</a:p>
          <a:p>
            <a:pPr algn="ctr"/>
            <a:endParaRPr lang="en-US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ntor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am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AHUL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IKAS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.)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200" b="1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I. </a:t>
            </a:r>
            <a:r>
              <a:rPr lang="en-US" sz="2200" b="1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New Account Page:</a:t>
            </a:r>
          </a:p>
          <a:p>
            <a:pPr marL="1257300" lvl="2" indent="-457200"/>
            <a:r>
              <a:rPr lang="en-US" sz="2200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page must accept account holder name, address, mobile number, email-id, account type ,opening balance and generate the account </a:t>
            </a:r>
            <a:r>
              <a:rPr lang="en-US" sz="2200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umber and temporary password </a:t>
            </a:r>
            <a:r>
              <a:rPr lang="en-US" sz="2200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000000"/>
              </a:solidFill>
              <a:latin typeface="Franklin Gothic Book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.)</a:t>
            </a:r>
            <a:endParaRPr lang="en-US" sz="28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II.  View Transactions Of All Accounts:</a:t>
            </a:r>
          </a:p>
          <a:p>
            <a:pPr marL="1257300" lvl="2" indent="-457200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link displays the transaction details of all account on daily /</a:t>
            </a:r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nthly/ quaterly/yearly </a:t>
            </a: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si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DULE</a:t>
            </a:r>
            <a:endParaRPr lang="en-US" dirty="0"/>
          </a:p>
        </p:txBody>
      </p:sp>
      <p:sp>
        <p:nvSpPr>
          <p:cNvPr id="4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COUNT HOLDER MODULE</a:t>
            </a:r>
          </a:p>
        </p:txBody>
      </p:sp>
      <p:sp>
        <p:nvSpPr>
          <p:cNvPr id="5" name="Oval 4"/>
          <p:cNvSpPr/>
          <p:nvPr/>
        </p:nvSpPr>
        <p:spPr>
          <a:xfrm>
            <a:off x="1449388" y="2212975"/>
            <a:ext cx="406400" cy="4508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1652588" y="2663825"/>
            <a:ext cx="0" cy="855663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1652588" y="2808288"/>
            <a:ext cx="203200" cy="1301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H="1">
            <a:off x="1449388" y="2808288"/>
            <a:ext cx="203200" cy="1301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1652588" y="3316288"/>
            <a:ext cx="304800" cy="3190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1347788" y="3316288"/>
            <a:ext cx="304800" cy="3190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957388" y="2938463"/>
            <a:ext cx="15240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7"/>
          <p:cNvSpPr txBox="1">
            <a:spLocks noChangeArrowheads="1"/>
          </p:cNvSpPr>
          <p:nvPr/>
        </p:nvSpPr>
        <p:spPr bwMode="auto">
          <a:xfrm>
            <a:off x="3643313" y="2760663"/>
            <a:ext cx="749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b="1">
                <a:solidFill>
                  <a:srgbClr val="7F7F7F"/>
                </a:solidFill>
                <a:latin typeface="Candar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–"/>
              <a:defRPr sz="1600">
                <a:solidFill>
                  <a:srgbClr val="7F7F7F"/>
                </a:solidFill>
                <a:latin typeface="Candar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sz="1200">
                <a:solidFill>
                  <a:srgbClr val="7F7F7F"/>
                </a:solidFill>
                <a:latin typeface="Candar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ndar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b="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Login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392613" y="1735554"/>
            <a:ext cx="1673336" cy="120291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065949" y="1407438"/>
            <a:ext cx="28487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k Service Request</a:t>
            </a:r>
            <a:endParaRPr lang="en-US" sz="16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4533363" y="2337009"/>
            <a:ext cx="2305319" cy="60145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4533363" y="2760663"/>
            <a:ext cx="2446986" cy="24823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18"/>
          <p:cNvSpPr txBox="1">
            <a:spLocks noChangeArrowheads="1"/>
          </p:cNvSpPr>
          <p:nvPr/>
        </p:nvSpPr>
        <p:spPr bwMode="auto">
          <a:xfrm>
            <a:off x="6841615" y="2133387"/>
            <a:ext cx="171983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b="1">
                <a:solidFill>
                  <a:srgbClr val="7F7F7F"/>
                </a:solidFill>
                <a:latin typeface="Candar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–"/>
              <a:defRPr sz="1600">
                <a:solidFill>
                  <a:srgbClr val="7F7F7F"/>
                </a:solidFill>
                <a:latin typeface="Candar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sz="1200">
                <a:solidFill>
                  <a:srgbClr val="7F7F7F"/>
                </a:solidFill>
                <a:latin typeface="Candar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ndar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600" b="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View Statements</a:t>
            </a:r>
          </a:p>
        </p:txBody>
      </p:sp>
      <p:sp>
        <p:nvSpPr>
          <p:cNvPr id="32" name="TextBox 18"/>
          <p:cNvSpPr txBox="1">
            <a:spLocks noChangeArrowheads="1"/>
          </p:cNvSpPr>
          <p:nvPr/>
        </p:nvSpPr>
        <p:spPr bwMode="auto">
          <a:xfrm>
            <a:off x="6980349" y="2591386"/>
            <a:ext cx="194629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b="1">
                <a:solidFill>
                  <a:srgbClr val="7F7F7F"/>
                </a:solidFill>
                <a:latin typeface="Candar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–"/>
              <a:defRPr sz="1600">
                <a:solidFill>
                  <a:srgbClr val="7F7F7F"/>
                </a:solidFill>
                <a:latin typeface="Candar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sz="1200">
                <a:solidFill>
                  <a:srgbClr val="7F7F7F"/>
                </a:solidFill>
                <a:latin typeface="Candar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ndar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600" b="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Fund Transfer</a:t>
            </a:r>
          </a:p>
        </p:txBody>
      </p:sp>
      <p:sp>
        <p:nvSpPr>
          <p:cNvPr id="33" name="Rectangle 32"/>
          <p:cNvSpPr/>
          <p:nvPr/>
        </p:nvSpPr>
        <p:spPr>
          <a:xfrm>
            <a:off x="6318758" y="3008901"/>
            <a:ext cx="2343149" cy="830262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797B7E">
                  <a:lumMod val="75000"/>
                </a:srgbClr>
              </a:solidFill>
              <a:effectLst/>
              <a:uLnTx/>
              <a:uFillTx/>
              <a:latin typeface="Franklin Gothic Book"/>
              <a:cs typeface="Arial" panose="020B0604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583497" y="3189038"/>
            <a:ext cx="2343149" cy="830262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797B7E">
                    <a:lumMod val="75000"/>
                  </a:srgbClr>
                </a:solidFill>
                <a:effectLst/>
                <a:uLnTx/>
                <a:uFillTx/>
                <a:latin typeface="Franklin Gothic Book"/>
                <a:cs typeface="Arial" panose="020B0604020202020204" pitchFamily="34" charset="0"/>
              </a:rPr>
              <a:t>Request for Change in Address/Mobile No.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797B7E">
                  <a:lumMod val="75000"/>
                </a:srgbClr>
              </a:solidFill>
              <a:effectLst/>
              <a:uLnTx/>
              <a:uFillTx/>
              <a:latin typeface="Franklin Gothic Book"/>
              <a:cs typeface="Arial" panose="020B0604020202020204" pitchFamily="34" charset="0"/>
            </a:endParaRPr>
          </a:p>
        </p:txBody>
      </p:sp>
      <p:cxnSp>
        <p:nvCxnSpPr>
          <p:cNvPr id="35" name="Straight Arrow Connector 34"/>
          <p:cNvCxnSpPr/>
          <p:nvPr/>
        </p:nvCxnSpPr>
        <p:spPr>
          <a:xfrm>
            <a:off x="4685763" y="3161301"/>
            <a:ext cx="2037009" cy="35818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6444230" y="4713990"/>
            <a:ext cx="2514600" cy="72390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797B7E">
                    <a:lumMod val="75000"/>
                  </a:srgbClr>
                </a:solidFill>
                <a:effectLst/>
                <a:uLnTx/>
                <a:uFillTx/>
                <a:latin typeface="Franklin Gothic Book"/>
                <a:cs typeface="Arial" panose="020B0604020202020204" pitchFamily="34" charset="0"/>
              </a:rPr>
              <a:t>Request for Cheque Book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797B7E">
                  <a:lumMod val="75000"/>
                </a:srgbClr>
              </a:solidFill>
              <a:effectLst/>
              <a:uLnTx/>
              <a:uFillTx/>
              <a:latin typeface="Franklin Gothic Book"/>
              <a:cs typeface="Arial" panose="020B0604020202020204" pitchFamily="34" charset="0"/>
            </a:endParaRPr>
          </a:p>
        </p:txBody>
      </p:sp>
      <p:cxnSp>
        <p:nvCxnSpPr>
          <p:cNvPr id="38" name="Straight Arrow Connector 37"/>
          <p:cNvCxnSpPr/>
          <p:nvPr/>
        </p:nvCxnSpPr>
        <p:spPr>
          <a:xfrm>
            <a:off x="4407221" y="3277188"/>
            <a:ext cx="2176276" cy="165542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4414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  <a:b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800" dirty="0"/>
          </a:p>
        </p:txBody>
      </p:sp>
      <p:sp>
        <p:nvSpPr>
          <p:cNvPr id="6" name="Content Placeholder 2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q"/>
            </a:pPr>
            <a:r>
              <a:rPr lang="en-US" sz="24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400" b="1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028700" lvl="1" indent="-514350">
              <a:buFont typeface="+mj-lt"/>
              <a:buAutoNum type="romanLcPeriod"/>
            </a:pP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iew mini/detailed Statement Page</a:t>
            </a:r>
            <a:endParaRPr lang="en-US" altLang="en-US" sz="24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028700" lvl="1" indent="-514350">
              <a:buFont typeface="+mj-lt"/>
              <a:buAutoNum type="romanLcPeriod"/>
            </a:pPr>
            <a:r>
              <a:rPr 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quest </a:t>
            </a: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or change in communication address/mobile number for bank account </a:t>
            </a:r>
            <a:r>
              <a:rPr 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ge</a:t>
            </a:r>
          </a:p>
          <a:p>
            <a:pPr marL="1028700" lvl="1" indent="-514350">
              <a:buFont typeface="+mj-lt"/>
              <a:buAutoNum type="romanLcPeriod"/>
            </a:pP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quest for </a:t>
            </a:r>
            <a:r>
              <a:rPr 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hequebook</a:t>
            </a:r>
          </a:p>
          <a:p>
            <a:pPr marL="1028700" lvl="1" indent="-514350">
              <a:buFont typeface="+mj-lt"/>
              <a:buAutoNum type="romanLcPeriod"/>
            </a:pP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ck  service request </a:t>
            </a:r>
            <a:r>
              <a:rPr 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ge</a:t>
            </a:r>
          </a:p>
          <a:p>
            <a:pPr marL="1028700" lvl="1" indent="-514350">
              <a:buFont typeface="+mj-lt"/>
              <a:buAutoNum type="romanLcPeriod"/>
            </a:pPr>
            <a:r>
              <a:rPr lang="en-US" alt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und Transfer </a:t>
            </a:r>
            <a:r>
              <a:rPr lang="en-US" alt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ge</a:t>
            </a:r>
          </a:p>
          <a:p>
            <a:pPr marL="1028700" lvl="1" indent="-514350">
              <a:buFont typeface="+mj-lt"/>
              <a:buAutoNum type="romanLcPeriod"/>
            </a:pP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hange </a:t>
            </a:r>
            <a:r>
              <a:rPr 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ssword</a:t>
            </a:r>
            <a:endParaRPr lang="en-US" sz="2400" b="1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514350" lvl="1" indent="0">
              <a:buNone/>
            </a:pPr>
            <a:endParaRPr lang="en-US" sz="2400" b="1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028700" lvl="1" indent="-514350">
              <a:buFont typeface="+mj-lt"/>
              <a:buAutoNum type="romanLcPeriod"/>
            </a:pPr>
            <a:endParaRPr lang="en-US" sz="24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028700" lvl="1" indent="-514350">
              <a:buFont typeface="+mj-lt"/>
              <a:buAutoNum type="romanLcPeriod"/>
            </a:pPr>
            <a:endParaRPr lang="en-US" sz="2400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.  View mini/detailed Statement </a:t>
            </a:r>
            <a:r>
              <a:rPr lang="en-US" sz="2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</a:t>
            </a:r>
            <a:r>
              <a:rPr lang="en-US" sz="2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ge:</a:t>
            </a:r>
          </a:p>
          <a:p>
            <a:pPr lvl="2"/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ni </a:t>
            </a: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atement:</a:t>
            </a:r>
          </a:p>
          <a:p>
            <a:pPr lvl="3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will show the last 10 transactions </a:t>
            </a:r>
            <a:endParaRPr lang="en-US" sz="2200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371600" lvl="3" indent="0">
              <a:buNone/>
            </a:pPr>
            <a:endParaRPr lang="en-US" sz="22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tailed Statement:</a:t>
            </a:r>
          </a:p>
          <a:p>
            <a:pPr lvl="3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will show the transaction details for the period </a:t>
            </a:r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elected</a:t>
            </a:r>
          </a:p>
          <a:p>
            <a:pPr marL="1371600" lvl="3" indent="0">
              <a:buNone/>
            </a:pPr>
            <a:endParaRPr lang="en-US" sz="22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 can have multiple </a:t>
            </a:r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s. He/She </a:t>
            </a: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hould be able to view statements of all his/her accounts</a:t>
            </a:r>
          </a:p>
          <a:p>
            <a:pPr marL="571500" indent="-571500">
              <a:buFont typeface="+mj-lt"/>
              <a:buAutoNum type="romanUcPeriod"/>
            </a:pPr>
            <a:endParaRPr lang="en-US" sz="2400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dirty="0"/>
          </a:p>
        </p:txBody>
      </p:sp>
      <p:sp>
        <p:nvSpPr>
          <p:cNvPr id="5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.)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543268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14300" indent="0" algn="just">
              <a:buNone/>
            </a:pPr>
            <a:r>
              <a:rPr lang="en-US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I. Request for change in communication address/mobile  number for bank account page:</a:t>
            </a:r>
          </a:p>
          <a:p>
            <a:pPr marL="114300" indent="0">
              <a:buNone/>
            </a:pPr>
            <a:endParaRPr lang="en-US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isplays current communication and Mobile  number details and allows the user to change the address of communication and mobile number</a:t>
            </a:r>
          </a:p>
          <a:p>
            <a:pPr marL="57150" indent="0">
              <a:buNone/>
            </a:pPr>
            <a:r>
              <a:rPr lang="en-US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II. Request for Chequebook:</a:t>
            </a:r>
          </a:p>
          <a:p>
            <a:pPr marL="57150" indent="0">
              <a:buNone/>
            </a:pPr>
            <a:endParaRPr lang="en-US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Accepts the request and displays service request number.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 chequebook request is always in Open state. Other valid states are dispatched, issued or returned.</a:t>
            </a:r>
          </a:p>
          <a:p>
            <a:pPr marL="0" indent="0">
              <a:buNone/>
            </a:pPr>
            <a:endParaRPr lang="en-US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74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114300" indent="0">
              <a:buNone/>
            </a:pPr>
            <a:r>
              <a:rPr lang="en-US" sz="2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V. </a:t>
            </a:r>
            <a:r>
              <a:rPr lang="en-US" sz="2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ck  service request page</a:t>
            </a:r>
            <a:r>
              <a:rPr lang="en-US" sz="2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marL="114300" indent="0">
              <a:buNone/>
            </a:pPr>
            <a:endParaRPr lang="en-US" sz="2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link helps the user to know the status of the service requested like request for cheque book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ollowing should be displayed at the end of the page</a:t>
            </a:r>
          </a:p>
          <a:p>
            <a:pPr marL="0" indent="0">
              <a:buNone/>
            </a:pPr>
            <a:r>
              <a:rPr lang="en-US" altLang="en-US" sz="2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0" indent="0">
              <a:buNone/>
            </a:pPr>
            <a:r>
              <a:rPr lang="en-US" altLang="en-US" sz="2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en-US" sz="2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. Fund Transfer page:</a:t>
            </a:r>
          </a:p>
          <a:p>
            <a:pPr marL="0" indent="0">
              <a:buNone/>
            </a:pPr>
            <a:endParaRPr lang="en-US" altLang="en-US" sz="2200" b="1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our own  bank account across </a:t>
            </a:r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dia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llows transferring from user’s own accounts.</a:t>
            </a:r>
          </a:p>
        </p:txBody>
      </p:sp>
    </p:spTree>
    <p:extLst>
      <p:ext uri="{BB962C8B-B14F-4D97-AF65-F5344CB8AC3E}">
        <p14:creationId xmlns:p14="http://schemas.microsoft.com/office/powerpoint/2010/main" val="387845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.)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857250" lvl="3" indent="0">
              <a:buNone/>
            </a:pPr>
            <a:endParaRPr lang="en-US" sz="22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857250" lvl="2" indent="-457200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ther  account of same bank across India:</a:t>
            </a:r>
          </a:p>
          <a:p>
            <a:pPr marL="400050" lvl="2" indent="0">
              <a:buNone/>
            </a:pPr>
            <a:endParaRPr lang="en-US" sz="22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314450" lvl="3" indent="-457200">
              <a:buFont typeface="+mj-lt"/>
              <a:buAutoNum type="arabicPeriod"/>
            </a:pPr>
            <a:r>
              <a:rPr lang="en-IN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unds can be transferred to other accounts of the same bank .</a:t>
            </a:r>
          </a:p>
          <a:p>
            <a:pPr marL="1314450" lvl="3" indent="-457200">
              <a:buFont typeface="+mj-lt"/>
              <a:buAutoNum type="arabicPeriod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elect the payee (person user want to pay to) from the list of payees in the drop down</a:t>
            </a:r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1314450" lvl="3" indent="-457200">
              <a:buFont typeface="+mj-lt"/>
              <a:buAutoNum type="arabicPeriod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lick  the Pay button: user will be prompted to enter the transaction amount and transaction password.  On entering the correct transaction password, transaction will be completed</a:t>
            </a:r>
          </a:p>
          <a:p>
            <a:pPr marL="857250" lvl="3" indent="0">
              <a:buNone/>
            </a:pPr>
            <a:endParaRPr lang="en-US" sz="22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70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.)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maximum amount of funds that can be transferred per day is Rs. 10 lakhs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re is no limit on Funds transfer to “your own Bank Account”.</a:t>
            </a:r>
            <a:endParaRPr lang="en-US" sz="2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en-US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I.  Change Password: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ssword change option allows the user to provide a new password for login. </a:t>
            </a:r>
            <a:endParaRPr lang="en-US" alt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" indent="0">
              <a:buNone/>
            </a:pPr>
            <a:endParaRPr lang="en-US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934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QUENCE DIAGRAM(Account Holder)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4578" name="Picture 2" descr="C:\Users\akhan15\Desktop\mini project\Project Diagrams\Sequence Diagram\accHolder_sequenc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882" y="1231309"/>
            <a:ext cx="7431110" cy="5008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727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TEAM MEMBERS</a:t>
            </a:r>
            <a:endParaRPr lang="en-US" sz="3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dirty="0" smtClean="0"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800" b="1" dirty="0" smtClean="0"/>
              <a:t>CRISTA  STEPHEN</a:t>
            </a:r>
            <a:endParaRPr lang="en-US" sz="2800" b="1" dirty="0" smtClean="0"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AVIIJIT  SINGH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BURLE  LEKHYA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DARSHAN M U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ASMITA  CHAKRABORTY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ATREYEE  PAUL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AMRUTHA BHAT RADHAKRISHNA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AMIR KHAN</a:t>
            </a:r>
          </a:p>
          <a:p>
            <a:endParaRPr lang="en-US" sz="28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QUENCE DIAGRAM(Admin)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602" name="Picture 2" descr="C:\Users\akhan15\Desktop\mini project\Project Diagrams\Sequence Diagram\admin_sequenc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14" y="1339403"/>
            <a:ext cx="8144703" cy="4946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4618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LASS DIAGRAM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6626" name="Picture 2" descr="https://raw.githubusercontent.com/amir-khan12/minutesofmeetingonlinebanking/master/ClassDiagramFlow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2" y="1287886"/>
            <a:ext cx="8878956" cy="4829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7240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FTWARE REQUIREMENTS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 sz="1800" dirty="0" smtClean="0"/>
          </a:p>
          <a:p>
            <a:pPr lvl="0"/>
            <a:r>
              <a:rPr lang="en-US" sz="1800" dirty="0" smtClean="0"/>
              <a:t>Microsoft Windows </a:t>
            </a:r>
            <a:r>
              <a:rPr lang="en-US" sz="1800" dirty="0"/>
              <a:t>7</a:t>
            </a:r>
          </a:p>
          <a:p>
            <a:pPr lvl="0"/>
            <a:r>
              <a:rPr lang="en-US" sz="1800" dirty="0"/>
              <a:t>Memory: 32MB of RAM (64MB or more recommended)</a:t>
            </a:r>
          </a:p>
          <a:p>
            <a:pPr lvl="0"/>
            <a:r>
              <a:rPr lang="en-US" sz="1800" dirty="0"/>
              <a:t>Internet Explorer 6.0 or higher</a:t>
            </a:r>
          </a:p>
          <a:p>
            <a:pPr lvl="0"/>
            <a:r>
              <a:rPr lang="en-US" sz="1800" dirty="0" smtClean="0"/>
              <a:t>Database oracle 11g</a:t>
            </a:r>
            <a:endParaRPr lang="en-US" sz="1800" dirty="0"/>
          </a:p>
          <a:p>
            <a:pPr lvl="0"/>
            <a:r>
              <a:rPr lang="en-US" sz="1800" dirty="0"/>
              <a:t>JDK 8</a:t>
            </a:r>
          </a:p>
          <a:p>
            <a:pPr lvl="0"/>
            <a:r>
              <a:rPr lang="en-US" sz="1800" dirty="0"/>
              <a:t>Eclipse Luna</a:t>
            </a:r>
          </a:p>
          <a:p>
            <a:pPr lvl="0"/>
            <a:r>
              <a:rPr lang="en-US" sz="1800" dirty="0"/>
              <a:t>JUnit </a:t>
            </a:r>
            <a:r>
              <a:rPr lang="en-US" sz="1800" dirty="0" smtClean="0"/>
              <a:t>4.0</a:t>
            </a:r>
            <a:endParaRPr lang="en-US" sz="1800" dirty="0"/>
          </a:p>
          <a:p>
            <a:pPr lvl="0"/>
            <a:r>
              <a:rPr lang="en-US" sz="1800" dirty="0"/>
              <a:t>WildFly</a:t>
            </a:r>
          </a:p>
          <a:p>
            <a:pPr marL="0" indent="0"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03246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4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 YOU</a:t>
            </a:r>
            <a:endParaRPr lang="en-US" sz="4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None/>
            </a:pPr>
            <a:r>
              <a:rPr lang="en-US" dirty="0"/>
              <a:t> </a:t>
            </a:r>
            <a:r>
              <a:rPr lang="en-US" dirty="0" smtClean="0"/>
              <a:t>                                          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 </a:t>
            </a:r>
            <a:r>
              <a:rPr lang="en-US" dirty="0" smtClean="0"/>
              <a:t>                                             </a:t>
            </a:r>
            <a:r>
              <a:rPr lang="en-US" sz="3200" b="1" i="1" dirty="0" smtClean="0"/>
              <a:t>~TEAM 5</a:t>
            </a:r>
          </a:p>
        </p:txBody>
      </p:sp>
    </p:spTree>
    <p:extLst>
      <p:ext uri="{BB962C8B-B14F-4D97-AF65-F5344CB8AC3E}">
        <p14:creationId xmlns:p14="http://schemas.microsoft.com/office/powerpoint/2010/main" val="2239828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600" b="1" dirty="0" smtClean="0"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OBJECTIVES</a:t>
            </a:r>
            <a:endParaRPr lang="en-US" sz="3600" b="1" dirty="0">
              <a:latin typeface="Times New Roman" panose="02020603050405020304" pitchFamily="18" charset="0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Segoe UI" panose="020B0502040204020203" pitchFamily="34" charset="0"/>
                <a:cs typeface="Segoe UI" panose="020B0502040204020203" pitchFamily="34" charset="0"/>
              </a:rPr>
              <a:t>PROJECT CONCEPTION</a:t>
            </a:r>
          </a:p>
          <a:p>
            <a:pPr marL="0" indent="0">
              <a:buNone/>
            </a:pPr>
            <a:endParaRPr lang="en-US" sz="2400" b="1" cap="small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Segoe UI" panose="020B0502040204020203" pitchFamily="34" charset="0"/>
                <a:cs typeface="Segoe UI" panose="020B0502040204020203" pitchFamily="34" charset="0"/>
              </a:rPr>
              <a:t>FUNCTIONAL COMPONENTS OF THE PROJECT</a:t>
            </a:r>
          </a:p>
          <a:p>
            <a:pPr marL="0" indent="0">
              <a:buNone/>
            </a:pP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Segoe UI" panose="020B0502040204020203" pitchFamily="34" charset="0"/>
                <a:cs typeface="Segoe UI" panose="020B0502040204020203" pitchFamily="34" charset="0"/>
              </a:rPr>
              <a:t>MODULES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Segoe UI" panose="020B0502040204020203" pitchFamily="34" charset="0"/>
                <a:cs typeface="Segoe UI" panose="020B0502040204020203" pitchFamily="34" charset="0"/>
              </a:rPr>
              <a:t>UML DIAGRAMS</a:t>
            </a:r>
          </a:p>
          <a:p>
            <a:pPr marL="0" indent="0">
              <a:buNone/>
            </a:pPr>
            <a:endParaRPr lang="en-US" sz="2400" dirty="0"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en-US" sz="24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project aims at developing an </a:t>
            </a:r>
            <a:r>
              <a:rPr lang="en-US" alt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line Banking</a:t>
            </a:r>
            <a:r>
              <a:rPr lang="en-US" altLang="en-US" sz="24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ystem (OBS)</a:t>
            </a:r>
            <a:r>
              <a:rPr lang="en-US" sz="24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or Account holders and Bank admin which </a:t>
            </a:r>
            <a:r>
              <a:rPr lang="en-US" alt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nables customers of a bank or other financial institution to conduct a range of financial transactions through the financial institution websites</a:t>
            </a:r>
            <a:r>
              <a:rPr lang="en-US" alt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altLang="en-US" sz="280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en-US" sz="24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is an integrated system that contains the Bank Admin </a:t>
            </a:r>
            <a:r>
              <a:rPr lang="en-US" alt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lement</a:t>
            </a:r>
            <a:r>
              <a:rPr lang="en-US" altLang="en-US" sz="24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and the </a:t>
            </a:r>
            <a:r>
              <a:rPr lang="en-US" alt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</a:t>
            </a:r>
            <a:r>
              <a:rPr lang="en-US" altLang="en-US" sz="24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element</a:t>
            </a:r>
            <a:r>
              <a:rPr lang="en-US" alt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endParaRPr lang="en-US" dirty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b="1" dirty="0">
              <a:solidFill>
                <a:schemeClr val="bg2">
                  <a:lumMod val="50000"/>
                </a:schemeClr>
              </a:solidFill>
              <a:latin typeface="+mj-lt"/>
              <a:ea typeface="ＭＳ Ｐゴシック"/>
              <a:cs typeface="Arial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200" b="1" dirty="0" smtClean="0"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PROJECT  CONCEPTION</a:t>
            </a:r>
            <a:endParaRPr lang="en-US" sz="3200" b="1" dirty="0">
              <a:latin typeface="Times New Roman" panose="02020603050405020304" pitchFamily="18" charset="0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re are two categories of people who would access the system viz. </a:t>
            </a:r>
            <a:r>
              <a:rPr lang="en-US" sz="18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s </a:t>
            </a: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amp;</a:t>
            </a:r>
            <a:r>
              <a:rPr lang="en-US" sz="18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Bank Admin</a:t>
            </a: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s :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gin into the system using his/her credentials.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iew  Mini /Detailed statement of  all the accounts (Multiple accounts, if any can be viewed)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quest for change in communication address/mobile number for bank account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quest for cheque book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ck  service request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und Transfer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hange password 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nk Admin :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 new Account upon request.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an view the reports of overall transactions on   daily/monthly/quarterly/yearly basis.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FUNCTIONAL COMPONENTS</a:t>
            </a:r>
            <a:endParaRPr lang="en-US" sz="3200" b="1" dirty="0">
              <a:latin typeface="Times New Roman" panose="02020603050405020304" pitchFamily="18" charset="0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gin Screen</a:t>
            </a:r>
          </a:p>
          <a:p>
            <a:pPr marL="1257300" lvl="2" indent="-457200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g in/Sign i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ome Page</a:t>
            </a:r>
            <a:r>
              <a:rPr lang="en-US" sz="2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iew  Mini /Detailed statement page</a:t>
            </a: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quest for change in communication address/mobile number for bank account page</a:t>
            </a: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quest for Chequebook</a:t>
            </a: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ck  service request page</a:t>
            </a: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und Transfer page</a:t>
            </a: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hange password</a:t>
            </a:r>
          </a:p>
          <a:p>
            <a:endParaRPr lang="en-US" dirty="0" smtClean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MODULES</a:t>
            </a:r>
            <a:endParaRPr lang="en-US" sz="3200" b="1" dirty="0">
              <a:latin typeface="Times New Roman" panose="02020603050405020304" pitchFamily="18" charset="0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  <a:endParaRPr lang="en-US" sz="2400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457200" y="1535805"/>
            <a:ext cx="8229600" cy="44958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q"/>
            </a:pPr>
            <a:r>
              <a:rPr lang="en-US" sz="2400" b="1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nk Admin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400" b="1" dirty="0" smtClean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428750" lvl="2" indent="-514350">
              <a:buFont typeface="+mj-lt"/>
              <a:buAutoNum type="romanLcPeriod"/>
            </a:pP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g in/Sign </a:t>
            </a:r>
            <a:r>
              <a:rPr lang="en-US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</a:t>
            </a:r>
          </a:p>
          <a:p>
            <a:pPr marL="1428750" lvl="2" indent="-514350">
              <a:buFont typeface="+mj-lt"/>
              <a:buAutoNum type="romanLcPeriod"/>
            </a:pPr>
            <a:r>
              <a:rPr lang="en-US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ew Account </a:t>
            </a:r>
            <a:r>
              <a:rPr lang="en-US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ge</a:t>
            </a:r>
          </a:p>
          <a:p>
            <a:pPr marL="1428750" lvl="2" indent="-514350">
              <a:buFont typeface="+mj-lt"/>
              <a:buAutoNum type="romanLcPeriod"/>
            </a:pP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iew transactions of all accounts</a:t>
            </a:r>
          </a:p>
          <a:p>
            <a:pPr marL="1428750" lvl="2" indent="-514350">
              <a:buFont typeface="+mj-lt"/>
              <a:buAutoNum type="romanLcPeriod"/>
            </a:pPr>
            <a:endParaRPr lang="en-US" dirty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2"/>
            <a:endParaRPr lang="en-US" dirty="0" smtClean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2"/>
            <a:endParaRPr lang="en-US" dirty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ANK ADMIN MODULE</a:t>
            </a:r>
            <a:endParaRPr lang="en-US" sz="2800" dirty="0"/>
          </a:p>
        </p:txBody>
      </p:sp>
      <p:sp>
        <p:nvSpPr>
          <p:cNvPr id="5" name="Oval 4"/>
          <p:cNvSpPr/>
          <p:nvPr/>
        </p:nvSpPr>
        <p:spPr>
          <a:xfrm>
            <a:off x="1449388" y="2212975"/>
            <a:ext cx="406400" cy="450850"/>
          </a:xfrm>
          <a:prstGeom prst="ellipse">
            <a:avLst/>
          </a:prstGeom>
          <a:noFill/>
          <a:ln w="25400" cap="flat" cmpd="sng" algn="ctr">
            <a:solidFill>
              <a:srgbClr val="797B7E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1652588" y="2663825"/>
            <a:ext cx="0" cy="855663"/>
          </a:xfrm>
          <a:prstGeom prst="line">
            <a:avLst/>
          </a:prstGeom>
          <a:noFill/>
          <a:ln w="9525" cap="flat" cmpd="sng" algn="ctr">
            <a:solidFill>
              <a:srgbClr val="797B7E"/>
            </a:solidFill>
            <a:prstDash val="solid"/>
          </a:ln>
          <a:effectLst/>
        </p:spPr>
      </p:cxnSp>
      <p:cxnSp>
        <p:nvCxnSpPr>
          <p:cNvPr id="7" name="Straight Connector 6"/>
          <p:cNvCxnSpPr/>
          <p:nvPr/>
        </p:nvCxnSpPr>
        <p:spPr>
          <a:xfrm>
            <a:off x="1652588" y="2808288"/>
            <a:ext cx="203200" cy="130175"/>
          </a:xfrm>
          <a:prstGeom prst="line">
            <a:avLst/>
          </a:prstGeom>
          <a:noFill/>
          <a:ln w="9525" cap="flat" cmpd="sng" algn="ctr">
            <a:solidFill>
              <a:srgbClr val="797B7E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8" name="Straight Connector 7"/>
          <p:cNvCxnSpPr/>
          <p:nvPr/>
        </p:nvCxnSpPr>
        <p:spPr>
          <a:xfrm flipH="1">
            <a:off x="1449388" y="2808288"/>
            <a:ext cx="203200" cy="130175"/>
          </a:xfrm>
          <a:prstGeom prst="line">
            <a:avLst/>
          </a:prstGeom>
          <a:noFill/>
          <a:ln w="9525" cap="flat" cmpd="sng" algn="ctr">
            <a:solidFill>
              <a:srgbClr val="797B7E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9" name="Straight Connector 8"/>
          <p:cNvCxnSpPr/>
          <p:nvPr/>
        </p:nvCxnSpPr>
        <p:spPr>
          <a:xfrm>
            <a:off x="1652588" y="3316288"/>
            <a:ext cx="304800" cy="319087"/>
          </a:xfrm>
          <a:prstGeom prst="line">
            <a:avLst/>
          </a:prstGeom>
          <a:noFill/>
          <a:ln w="9525" cap="flat" cmpd="sng" algn="ctr">
            <a:solidFill>
              <a:srgbClr val="797B7E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0" name="Straight Connector 9"/>
          <p:cNvCxnSpPr/>
          <p:nvPr/>
        </p:nvCxnSpPr>
        <p:spPr>
          <a:xfrm flipH="1">
            <a:off x="1347788" y="3316288"/>
            <a:ext cx="304800" cy="319087"/>
          </a:xfrm>
          <a:prstGeom prst="line">
            <a:avLst/>
          </a:prstGeom>
          <a:noFill/>
          <a:ln w="9525" cap="flat" cmpd="sng" algn="ctr">
            <a:solidFill>
              <a:srgbClr val="797B7E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1" name="Straight Arrow Connector 10"/>
          <p:cNvCxnSpPr/>
          <p:nvPr/>
        </p:nvCxnSpPr>
        <p:spPr>
          <a:xfrm>
            <a:off x="1957388" y="2938463"/>
            <a:ext cx="1524000" cy="0"/>
          </a:xfrm>
          <a:prstGeom prst="straightConnector1">
            <a:avLst/>
          </a:prstGeom>
          <a:noFill/>
          <a:ln w="9525" cap="flat" cmpd="sng" algn="ctr">
            <a:solidFill>
              <a:srgbClr val="797B7E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12" name="TextBox 17"/>
          <p:cNvSpPr txBox="1">
            <a:spLocks noChangeArrowheads="1"/>
          </p:cNvSpPr>
          <p:nvPr/>
        </p:nvSpPr>
        <p:spPr bwMode="auto">
          <a:xfrm>
            <a:off x="3643313" y="2760663"/>
            <a:ext cx="749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b="1">
                <a:solidFill>
                  <a:srgbClr val="7F7F7F"/>
                </a:solidFill>
                <a:latin typeface="Candar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–"/>
              <a:defRPr sz="1600">
                <a:solidFill>
                  <a:srgbClr val="7F7F7F"/>
                </a:solidFill>
                <a:latin typeface="Candar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sz="1200">
                <a:solidFill>
                  <a:srgbClr val="7F7F7F"/>
                </a:solidFill>
                <a:latin typeface="Candar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ndar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b="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Login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4656138" y="2954338"/>
            <a:ext cx="1062037" cy="3175"/>
          </a:xfrm>
          <a:prstGeom prst="straightConnector1">
            <a:avLst/>
          </a:prstGeom>
          <a:noFill/>
          <a:ln w="9525" cap="flat" cmpd="sng" algn="ctr">
            <a:solidFill>
              <a:srgbClr val="797B7E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14" name="Rectangle 13"/>
          <p:cNvSpPr/>
          <p:nvPr/>
        </p:nvSpPr>
        <p:spPr>
          <a:xfrm>
            <a:off x="5803265" y="2673350"/>
            <a:ext cx="1597025" cy="64293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797B7E">
                    <a:lumMod val="50000"/>
                  </a:srgbClr>
                </a:solidFill>
                <a:effectLst/>
                <a:uLnTx/>
                <a:uFillTx/>
                <a:latin typeface="Franklin Gothic Book"/>
                <a:cs typeface="Arial" panose="020B0604020202020204" pitchFamily="34" charset="0"/>
              </a:rPr>
              <a:t>Create Account 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797B7E">
                  <a:lumMod val="50000"/>
                </a:srgbClr>
              </a:solidFill>
              <a:effectLst/>
              <a:uLnTx/>
              <a:uFillTx/>
              <a:latin typeface="Franklin Gothic Book"/>
              <a:cs typeface="Arial" panose="020B0604020202020204" pitchFamily="34" charset="0"/>
            </a:endParaRPr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329" y="3130550"/>
            <a:ext cx="933450" cy="1566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22"/>
          <p:cNvSpPr txBox="1">
            <a:spLocks noChangeArrowheads="1"/>
          </p:cNvSpPr>
          <p:nvPr/>
        </p:nvSpPr>
        <p:spPr bwMode="auto">
          <a:xfrm>
            <a:off x="5187156" y="4675186"/>
            <a:ext cx="2649537" cy="584775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b="1">
                <a:solidFill>
                  <a:srgbClr val="7F7F7F"/>
                </a:solidFill>
                <a:latin typeface="Candar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–"/>
              <a:defRPr sz="1600">
                <a:solidFill>
                  <a:srgbClr val="7F7F7F"/>
                </a:solidFill>
                <a:latin typeface="Candar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sz="1200">
                <a:solidFill>
                  <a:srgbClr val="7F7F7F"/>
                </a:solidFill>
                <a:latin typeface="Candar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ndar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charset="0"/>
                <a:cs typeface="Arial" charset="0"/>
              </a:rPr>
              <a:t>View Reports of Overall Transactions</a:t>
            </a:r>
            <a:endParaRPr kumimoji="0" lang="en-US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474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.)</a:t>
            </a:r>
            <a:endParaRPr lang="en-US" dirty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457200" y="1222419"/>
            <a:ext cx="8229600" cy="51053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2336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0936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36" indent="-173736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7280" indent="-173736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3312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81912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92224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Arial" pitchFamily="34" charset="0"/>
              <a:buAutoNum type="romanUcPeriod"/>
            </a:pPr>
            <a:r>
              <a:rPr 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g In:</a:t>
            </a:r>
          </a:p>
          <a:p>
            <a:pPr marL="0" indent="0"/>
            <a:endParaRPr lang="en-US" sz="220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alt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gin module is common for all the users of the system </a:t>
            </a:r>
            <a:r>
              <a:rPr 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iz. </a:t>
            </a:r>
            <a:r>
              <a:rPr lang="en-US" sz="2200" b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s </a:t>
            </a:r>
            <a:r>
              <a:rPr 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amp;</a:t>
            </a:r>
            <a:r>
              <a:rPr lang="en-US" sz="2200" b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Bank Admin</a:t>
            </a:r>
            <a:endParaRPr lang="en-US" altLang="en-US" sz="2200" b="1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alt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sic functionalities of the login module are as follows:</a:t>
            </a:r>
          </a:p>
          <a:p>
            <a:pPr marL="1371600" lvl="2" indent="-457200">
              <a:buFont typeface="+mj-lt"/>
              <a:buAutoNum type="arabicPeriod"/>
              <a:defRPr/>
            </a:pPr>
            <a:r>
              <a:rPr lang="en-US" alt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ing login credentials from the user.</a:t>
            </a:r>
          </a:p>
          <a:p>
            <a:pPr marL="1371600" lvl="2" indent="-457200">
              <a:buFont typeface="+mj-lt"/>
              <a:buAutoNum type="arabicPeriod"/>
              <a:defRPr/>
            </a:pPr>
            <a:r>
              <a:rPr lang="en-US" alt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f given credentials are wrong, show appropriate message.</a:t>
            </a:r>
          </a:p>
          <a:p>
            <a:pPr marL="1371600" lvl="2" indent="-457200">
              <a:buFont typeface="+mj-lt"/>
              <a:buAutoNum type="arabicPeriod"/>
              <a:defRPr/>
            </a:pPr>
            <a:r>
              <a:rPr lang="en-US" alt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f login succeeds, user will be navigated to his/her respective page as per his/her role.</a:t>
            </a:r>
            <a:endParaRPr lang="en-US" altLang="en-US" sz="220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defRPr/>
            </a:pPr>
            <a:r>
              <a:rPr lang="en-US" sz="22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purl.org/dc/elements/1.1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terms/"/>
    <ds:schemaRef ds:uri="952a6df7-b138-4f89-9bc4-e7a874ea3254"/>
    <ds:schemaRef ds:uri="http://schemas.openxmlformats.org/package/2006/metadata/core-properties"/>
    <ds:schemaRef ds:uri="a85eb2a3-840f-4054-86f6-d41d0c1cba4b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59</TotalTime>
  <Words>858</Words>
  <Application>Microsoft Office PowerPoint</Application>
  <PresentationFormat>On-screen Show (4:3)</PresentationFormat>
  <Paragraphs>172</Paragraphs>
  <Slides>23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2_Corporate Presentation Template (4x3 - Normal)</vt:lpstr>
      <vt:lpstr>think-cell Slide</vt:lpstr>
      <vt:lpstr>PowerPoint Presentation</vt:lpstr>
      <vt:lpstr>TEAM MEMBERS</vt:lpstr>
      <vt:lpstr>OBJECTIVES</vt:lpstr>
      <vt:lpstr>PROJECT  CONCEPTION</vt:lpstr>
      <vt:lpstr>FUNCTIONAL COMPONENTS</vt:lpstr>
      <vt:lpstr>MODULES</vt:lpstr>
      <vt:lpstr>MODULES(contd.)</vt:lpstr>
      <vt:lpstr>BANK ADMIN MODULE</vt:lpstr>
      <vt:lpstr>MODULES(contd.)</vt:lpstr>
      <vt:lpstr>MODULES(contd.)</vt:lpstr>
      <vt:lpstr>MODULES(contd.)</vt:lpstr>
      <vt:lpstr> ACCOUNT HOLDER MODULE</vt:lpstr>
      <vt:lpstr> MODULES(contd.) </vt:lpstr>
      <vt:lpstr>MODULES(contd.)</vt:lpstr>
      <vt:lpstr>MODULES(contd.)</vt:lpstr>
      <vt:lpstr>MODULES(contd.)</vt:lpstr>
      <vt:lpstr>MODULES(contd.)</vt:lpstr>
      <vt:lpstr>MODULES(contd.)</vt:lpstr>
      <vt:lpstr>SEQUENCE DIAGRAM(Account Holder)</vt:lpstr>
      <vt:lpstr>SEQUENCE DIAGRAM(Admin)</vt:lpstr>
      <vt:lpstr>CLASS DIAGRAM</vt:lpstr>
      <vt:lpstr>SOFTWARE REQUIREMENTS</vt:lpstr>
      <vt:lpstr>PowerPoint Presentation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Chakraborty, Asmita</cp:lastModifiedBy>
  <cp:revision>159</cp:revision>
  <dcterms:created xsi:type="dcterms:W3CDTF">2012-05-18T02:59:15Z</dcterms:created>
  <dcterms:modified xsi:type="dcterms:W3CDTF">2018-01-04T07:1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